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7" r:id="rId2"/>
  </p:sldIdLst>
  <p:sldSz cx="7556500" cy="10693400"/>
  <p:notesSz cx="6858000" cy="9144000"/>
  <p:embeddedFontLst>
    <p:embeddedFont>
      <p:font typeface="EB Garamond" pitchFamily="2" charset="0"/>
      <p:regular r:id="rId3"/>
      <p:bold r:id="rId4"/>
      <p:italic r:id="rId5"/>
      <p:boldItalic r:id="rId6"/>
    </p:embeddedFont>
    <p:embeddedFont>
      <p:font typeface="EB Garamond SemiBold" pitchFamily="2" charset="0"/>
      <p:bold r:id="rId7"/>
      <p:boldItalic r:id="rId8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AE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4622" autoAdjust="0"/>
  </p:normalViewPr>
  <p:slideViewPr>
    <p:cSldViewPr>
      <p:cViewPr varScale="1">
        <p:scale>
          <a:sx n="68" d="100"/>
          <a:sy n="68" d="100"/>
        </p:scale>
        <p:origin x="1782" y="-4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theme" Target="theme/theme1.xml"/><Relationship Id="rId5" Type="http://schemas.openxmlformats.org/officeDocument/2006/relationships/font" Target="fonts/font3.fntdata"/><Relationship Id="rId10" Type="http://schemas.openxmlformats.org/officeDocument/2006/relationships/viewProps" Target="viewProps.xml"/><Relationship Id="rId4" Type="http://schemas.openxmlformats.org/officeDocument/2006/relationships/font" Target="fonts/font2.fntdata"/><Relationship Id="rId9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4/27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7" Type="http://schemas.openxmlformats.org/officeDocument/2006/relationships/image" Target="../media/image5.png"/><Relationship Id="rId12" Type="http://schemas.openxmlformats.org/officeDocument/2006/relationships/image" Target="../media/image10.sv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5" Type="http://schemas.openxmlformats.org/officeDocument/2006/relationships/image" Target="../media/image3.png"/><Relationship Id="rId10" Type="http://schemas.openxmlformats.org/officeDocument/2006/relationships/image" Target="../media/image8.svg"/><Relationship Id="rId4" Type="http://schemas.openxmlformats.org/officeDocument/2006/relationships/image" Target="../media/image2.sv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9B795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roup 2">
            <a:extLst>
              <a:ext uri="{FF2B5EF4-FFF2-40B4-BE49-F238E27FC236}">
                <a16:creationId xmlns:a16="http://schemas.microsoft.com/office/drawing/2014/main" id="{0C96A9F3-A427-4CE4-B7EB-D3A8CDFCFBD6}"/>
              </a:ext>
            </a:extLst>
          </p:cNvPr>
          <p:cNvGrpSpPr/>
          <p:nvPr/>
        </p:nvGrpSpPr>
        <p:grpSpPr>
          <a:xfrm>
            <a:off x="-883458" y="-574165"/>
            <a:ext cx="9381600" cy="11662981"/>
            <a:chOff x="-883458" y="-574165"/>
            <a:chExt cx="9381600" cy="11662981"/>
          </a:xfrm>
        </p:grpSpPr>
        <p:sp>
          <p:nvSpPr>
            <p:cNvPr id="3" name="Freeform 3"/>
            <p:cNvSpPr/>
            <p:nvPr/>
          </p:nvSpPr>
          <p:spPr>
            <a:xfrm>
              <a:off x="162885" y="182348"/>
              <a:ext cx="7230729" cy="10328704"/>
            </a:xfrm>
            <a:custGeom>
              <a:avLst/>
              <a:gdLst/>
              <a:ahLst/>
              <a:cxnLst/>
              <a:rect l="l" t="t" r="r" b="b"/>
              <a:pathLst>
                <a:path w="3377868" h="4825100">
                  <a:moveTo>
                    <a:pt x="0" y="0"/>
                  </a:moveTo>
                  <a:lnTo>
                    <a:pt x="3377868" y="0"/>
                  </a:lnTo>
                  <a:lnTo>
                    <a:pt x="3377868" y="4825100"/>
                  </a:lnTo>
                  <a:lnTo>
                    <a:pt x="0" y="4825100"/>
                  </a:ln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9525" cap="sq">
              <a:solidFill>
                <a:srgbClr val="FFFAE4">
                  <a:alpha val="49804"/>
                </a:srgbClr>
              </a:solidFill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87" name="Group 86">
              <a:extLst>
                <a:ext uri="{FF2B5EF4-FFF2-40B4-BE49-F238E27FC236}">
                  <a16:creationId xmlns:a16="http://schemas.microsoft.com/office/drawing/2014/main" id="{1A8CB016-92DB-D285-816E-3DBA34D9BE7D}"/>
                </a:ext>
              </a:extLst>
            </p:cNvPr>
            <p:cNvGrpSpPr/>
            <p:nvPr/>
          </p:nvGrpSpPr>
          <p:grpSpPr>
            <a:xfrm>
              <a:off x="6289" y="-378000"/>
              <a:ext cx="8204978" cy="11071400"/>
              <a:chOff x="6289" y="-378000"/>
              <a:chExt cx="8204978" cy="11071400"/>
            </a:xfrm>
          </p:grpSpPr>
          <p:sp>
            <p:nvSpPr>
              <p:cNvPr id="75" name="Freeform: Shape 74">
                <a:extLst>
                  <a:ext uri="{FF2B5EF4-FFF2-40B4-BE49-F238E27FC236}">
                    <a16:creationId xmlns:a16="http://schemas.microsoft.com/office/drawing/2014/main" id="{3FDACA46-4DAF-9FDD-6A0A-4BB5E78EBDC8}"/>
                  </a:ext>
                </a:extLst>
              </p:cNvPr>
              <p:cNvSpPr/>
              <p:nvPr/>
            </p:nvSpPr>
            <p:spPr>
              <a:xfrm>
                <a:off x="5840744" y="-378000"/>
                <a:ext cx="2370523" cy="2421784"/>
              </a:xfrm>
              <a:custGeom>
                <a:avLst/>
                <a:gdLst>
                  <a:gd name="connsiteX0" fmla="*/ 1715755 w 2370523"/>
                  <a:gd name="connsiteY0" fmla="*/ 0 h 2421784"/>
                  <a:gd name="connsiteX1" fmla="*/ 2370523 w 2370523"/>
                  <a:gd name="connsiteY1" fmla="*/ 0 h 2421784"/>
                  <a:gd name="connsiteX2" fmla="*/ 2370523 w 2370523"/>
                  <a:gd name="connsiteY2" fmla="*/ 1 h 2421784"/>
                  <a:gd name="connsiteX3" fmla="*/ 1715757 w 2370523"/>
                  <a:gd name="connsiteY3" fmla="*/ 1 h 2421784"/>
                  <a:gd name="connsiteX4" fmla="*/ 1715757 w 2370523"/>
                  <a:gd name="connsiteY4" fmla="*/ 378000 h 2421784"/>
                  <a:gd name="connsiteX5" fmla="*/ 1715756 w 2370523"/>
                  <a:gd name="connsiteY5" fmla="*/ 378000 h 2421784"/>
                  <a:gd name="connsiteX6" fmla="*/ 1715756 w 2370523"/>
                  <a:gd name="connsiteY6" fmla="*/ 2421784 h 2421784"/>
                  <a:gd name="connsiteX7" fmla="*/ 0 w 2370523"/>
                  <a:gd name="connsiteY7" fmla="*/ 2421784 h 2421784"/>
                  <a:gd name="connsiteX8" fmla="*/ 0 w 2370523"/>
                  <a:gd name="connsiteY8" fmla="*/ 378000 h 2421784"/>
                  <a:gd name="connsiteX9" fmla="*/ 1715755 w 2370523"/>
                  <a:gd name="connsiteY9" fmla="*/ 378000 h 242178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370523" h="2421784">
                    <a:moveTo>
                      <a:pt x="1715755" y="0"/>
                    </a:moveTo>
                    <a:lnTo>
                      <a:pt x="2370523" y="0"/>
                    </a:lnTo>
                    <a:lnTo>
                      <a:pt x="2370523" y="1"/>
                    </a:lnTo>
                    <a:lnTo>
                      <a:pt x="1715757" y="1"/>
                    </a:lnTo>
                    <a:lnTo>
                      <a:pt x="1715757" y="378000"/>
                    </a:lnTo>
                    <a:lnTo>
                      <a:pt x="1715756" y="378000"/>
                    </a:lnTo>
                    <a:lnTo>
                      <a:pt x="1715756" y="2421784"/>
                    </a:lnTo>
                    <a:lnTo>
                      <a:pt x="0" y="2421784"/>
                    </a:lnTo>
                    <a:lnTo>
                      <a:pt x="0" y="378000"/>
                    </a:lnTo>
                    <a:lnTo>
                      <a:pt x="1715755" y="378000"/>
                    </a:lnTo>
                    <a:close/>
                  </a:path>
                </a:pathLst>
              </a:custGeom>
              <a:solidFill>
                <a:srgbClr val="9B7959"/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82" name="Freeform: Shape 81">
                <a:extLst>
                  <a:ext uri="{FF2B5EF4-FFF2-40B4-BE49-F238E27FC236}">
                    <a16:creationId xmlns:a16="http://schemas.microsoft.com/office/drawing/2014/main" id="{86C28837-5EE1-3E29-E498-DF7FB2B31BAE}"/>
                  </a:ext>
                </a:extLst>
              </p:cNvPr>
              <p:cNvSpPr/>
              <p:nvPr/>
            </p:nvSpPr>
            <p:spPr>
              <a:xfrm>
                <a:off x="6289" y="8160804"/>
                <a:ext cx="1588699" cy="2532596"/>
              </a:xfrm>
              <a:custGeom>
                <a:avLst/>
                <a:gdLst>
                  <a:gd name="connsiteX0" fmla="*/ 0 w 1588699"/>
                  <a:gd name="connsiteY0" fmla="*/ 0 h 2532596"/>
                  <a:gd name="connsiteX1" fmla="*/ 1588699 w 1588699"/>
                  <a:gd name="connsiteY1" fmla="*/ 0 h 2532596"/>
                  <a:gd name="connsiteX2" fmla="*/ 1588699 w 1588699"/>
                  <a:gd name="connsiteY2" fmla="*/ 2532596 h 2532596"/>
                  <a:gd name="connsiteX3" fmla="*/ 0 w 1588699"/>
                  <a:gd name="connsiteY3" fmla="*/ 2532596 h 25325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588699" h="2532596">
                    <a:moveTo>
                      <a:pt x="0" y="0"/>
                    </a:moveTo>
                    <a:lnTo>
                      <a:pt x="1588699" y="0"/>
                    </a:lnTo>
                    <a:lnTo>
                      <a:pt x="1588699" y="2532596"/>
                    </a:lnTo>
                    <a:lnTo>
                      <a:pt x="0" y="2532596"/>
                    </a:lnTo>
                    <a:close/>
                  </a:path>
                </a:pathLst>
              </a:custGeom>
              <a:solidFill>
                <a:srgbClr val="9B7959"/>
              </a:solid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85" name="Group 84">
              <a:extLst>
                <a:ext uri="{FF2B5EF4-FFF2-40B4-BE49-F238E27FC236}">
                  <a16:creationId xmlns:a16="http://schemas.microsoft.com/office/drawing/2014/main" id="{A28904B4-A887-E564-B0C0-786A74A424F5}"/>
                </a:ext>
              </a:extLst>
            </p:cNvPr>
            <p:cNvGrpSpPr/>
            <p:nvPr/>
          </p:nvGrpSpPr>
          <p:grpSpPr>
            <a:xfrm>
              <a:off x="-883458" y="-574165"/>
              <a:ext cx="9381600" cy="11662981"/>
              <a:chOff x="-883458" y="-574165"/>
              <a:chExt cx="9381600" cy="11662981"/>
            </a:xfrm>
          </p:grpSpPr>
          <p:sp>
            <p:nvSpPr>
              <p:cNvPr id="74" name="Mask Shape">
                <a:extLst>
                  <a:ext uri="{FF2B5EF4-FFF2-40B4-BE49-F238E27FC236}">
                    <a16:creationId xmlns:a16="http://schemas.microsoft.com/office/drawing/2014/main" id="{DF07EA47-04DF-A74D-CD4A-8DB848E5BF52}"/>
                  </a:ext>
                </a:extLst>
              </p:cNvPr>
              <p:cNvSpPr/>
              <p:nvPr/>
            </p:nvSpPr>
            <p:spPr>
              <a:xfrm rot="19689869" flipH="1">
                <a:off x="6187229" y="-574165"/>
                <a:ext cx="2310913" cy="2811952"/>
              </a:xfrm>
              <a:custGeom>
                <a:avLst/>
                <a:gdLst>
                  <a:gd name="connsiteX0" fmla="*/ 0 w 2310913"/>
                  <a:gd name="connsiteY0" fmla="*/ 1794694 h 2811952"/>
                  <a:gd name="connsiteX1" fmla="*/ 0 w 2310913"/>
                  <a:gd name="connsiteY1" fmla="*/ 2811952 h 2811952"/>
                  <a:gd name="connsiteX2" fmla="*/ 631600 w 2310913"/>
                  <a:gd name="connsiteY2" fmla="*/ 2811952 h 2811952"/>
                  <a:gd name="connsiteX3" fmla="*/ 1697625 w 2310913"/>
                  <a:gd name="connsiteY3" fmla="*/ 0 h 2811952"/>
                  <a:gd name="connsiteX4" fmla="*/ 1738069 w 2310913"/>
                  <a:gd name="connsiteY4" fmla="*/ 65139 h 2811952"/>
                  <a:gd name="connsiteX5" fmla="*/ 0 w 2310913"/>
                  <a:gd name="connsiteY5" fmla="*/ 1144279 h 2811952"/>
                  <a:gd name="connsiteX6" fmla="*/ 0 w 2310913"/>
                  <a:gd name="connsiteY6" fmla="*/ 1144280 h 2811952"/>
                  <a:gd name="connsiteX7" fmla="*/ 535041 w 2310913"/>
                  <a:gd name="connsiteY7" fmla="*/ 812081 h 2811952"/>
                  <a:gd name="connsiteX8" fmla="*/ 1683879 w 2310913"/>
                  <a:gd name="connsiteY8" fmla="*/ 2662405 h 2811952"/>
                  <a:gd name="connsiteX9" fmla="*/ 1443018 w 2310913"/>
                  <a:gd name="connsiteY9" fmla="*/ 2811952 h 2811952"/>
                  <a:gd name="connsiteX10" fmla="*/ 2310913 w 2310913"/>
                  <a:gd name="connsiteY10" fmla="*/ 2811952 h 2811952"/>
                  <a:gd name="connsiteX11" fmla="*/ 2310913 w 2310913"/>
                  <a:gd name="connsiteY11" fmla="*/ 0 h 2811952"/>
                  <a:gd name="connsiteX12" fmla="*/ 0 w 2310913"/>
                  <a:gd name="connsiteY12" fmla="*/ 0 h 2811952"/>
                  <a:gd name="connsiteX13" fmla="*/ 0 w 2310913"/>
                  <a:gd name="connsiteY13" fmla="*/ 541924 h 2811952"/>
                  <a:gd name="connsiteX14" fmla="*/ 872826 w 2310913"/>
                  <a:gd name="connsiteY14" fmla="*/ 0 h 28119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10913" h="2811952">
                    <a:moveTo>
                      <a:pt x="0" y="1794694"/>
                    </a:moveTo>
                    <a:lnTo>
                      <a:pt x="0" y="2811952"/>
                    </a:lnTo>
                    <a:lnTo>
                      <a:pt x="631600" y="2811952"/>
                    </a:lnTo>
                    <a:close/>
                    <a:moveTo>
                      <a:pt x="1697625" y="0"/>
                    </a:moveTo>
                    <a:lnTo>
                      <a:pt x="1738069" y="65139"/>
                    </a:lnTo>
                    <a:lnTo>
                      <a:pt x="0" y="1144279"/>
                    </a:lnTo>
                    <a:lnTo>
                      <a:pt x="0" y="1144280"/>
                    </a:lnTo>
                    <a:lnTo>
                      <a:pt x="535041" y="812081"/>
                    </a:lnTo>
                    <a:lnTo>
                      <a:pt x="1683879" y="2662405"/>
                    </a:lnTo>
                    <a:lnTo>
                      <a:pt x="1443018" y="2811952"/>
                    </a:lnTo>
                    <a:lnTo>
                      <a:pt x="2310913" y="2811952"/>
                    </a:lnTo>
                    <a:lnTo>
                      <a:pt x="2310913" y="0"/>
                    </a:lnTo>
                    <a:close/>
                    <a:moveTo>
                      <a:pt x="0" y="0"/>
                    </a:moveTo>
                    <a:lnTo>
                      <a:pt x="0" y="541924"/>
                    </a:lnTo>
                    <a:lnTo>
                      <a:pt x="872826" y="0"/>
                    </a:lnTo>
                    <a:close/>
                  </a:path>
                </a:pathLst>
              </a:custGeom>
              <a:blipFill>
                <a:blip r:embed="rId3">
                  <a:alphaModFix amt="28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  <p:sp>
            <p:nvSpPr>
              <p:cNvPr id="86" name="Mask Shape">
                <a:extLst>
                  <a:ext uri="{FF2B5EF4-FFF2-40B4-BE49-F238E27FC236}">
                    <a16:creationId xmlns:a16="http://schemas.microsoft.com/office/drawing/2014/main" id="{944318A2-28C5-B2A1-2E12-04B8D1DE3032}"/>
                  </a:ext>
                </a:extLst>
              </p:cNvPr>
              <p:cNvSpPr/>
              <p:nvPr/>
            </p:nvSpPr>
            <p:spPr>
              <a:xfrm rot="2002248" flipH="1">
                <a:off x="-883458" y="8216369"/>
                <a:ext cx="2360630" cy="2872447"/>
              </a:xfrm>
              <a:custGeom>
                <a:avLst/>
                <a:gdLst>
                  <a:gd name="connsiteX0" fmla="*/ 772224 w 2360630"/>
                  <a:gd name="connsiteY0" fmla="*/ 2872447 h 2872447"/>
                  <a:gd name="connsiteX1" fmla="*/ 0 w 2360630"/>
                  <a:gd name="connsiteY1" fmla="*/ 2363824 h 2872447"/>
                  <a:gd name="connsiteX2" fmla="*/ 0 w 2360630"/>
                  <a:gd name="connsiteY2" fmla="*/ 2872447 h 2872447"/>
                  <a:gd name="connsiteX3" fmla="*/ 1323734 w 2360630"/>
                  <a:gd name="connsiteY3" fmla="*/ 2872447 h 2872447"/>
                  <a:gd name="connsiteX4" fmla="*/ 1220204 w 2360630"/>
                  <a:gd name="connsiteY4" fmla="*/ 2804257 h 2872447"/>
                  <a:gd name="connsiteX5" fmla="*/ 1175291 w 2360630"/>
                  <a:gd name="connsiteY5" fmla="*/ 2872447 h 2872447"/>
                  <a:gd name="connsiteX6" fmla="*/ 2360630 w 2360630"/>
                  <a:gd name="connsiteY6" fmla="*/ 1946188 h 2872447"/>
                  <a:gd name="connsiteX7" fmla="*/ 1750551 w 2360630"/>
                  <a:gd name="connsiteY7" fmla="*/ 2872447 h 2872447"/>
                  <a:gd name="connsiteX8" fmla="*/ 2360630 w 2360630"/>
                  <a:gd name="connsiteY8" fmla="*/ 2872447 h 2872447"/>
                  <a:gd name="connsiteX9" fmla="*/ 2360630 w 2360630"/>
                  <a:gd name="connsiteY9" fmla="*/ 0 h 2872447"/>
                  <a:gd name="connsiteX10" fmla="*/ 0 w 2360630"/>
                  <a:gd name="connsiteY10" fmla="*/ 0 h 2872447"/>
                  <a:gd name="connsiteX11" fmla="*/ 0 w 2360630"/>
                  <a:gd name="connsiteY11" fmla="*/ 1905096 h 2872447"/>
                  <a:gd name="connsiteX12" fmla="*/ 855727 w 2360630"/>
                  <a:gd name="connsiteY12" fmla="*/ 2468719 h 2872447"/>
                  <a:gd name="connsiteX13" fmla="*/ 2065654 w 2360630"/>
                  <a:gd name="connsiteY13" fmla="*/ 631732 h 2872447"/>
                  <a:gd name="connsiteX14" fmla="*/ 2360630 w 2360630"/>
                  <a:gd name="connsiteY14" fmla="*/ 826018 h 287244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360630" h="2872447">
                    <a:moveTo>
                      <a:pt x="772224" y="2872447"/>
                    </a:moveTo>
                    <a:lnTo>
                      <a:pt x="0" y="2363824"/>
                    </a:lnTo>
                    <a:lnTo>
                      <a:pt x="0" y="2872447"/>
                    </a:lnTo>
                    <a:close/>
                    <a:moveTo>
                      <a:pt x="1323734" y="2872447"/>
                    </a:moveTo>
                    <a:lnTo>
                      <a:pt x="1220204" y="2804257"/>
                    </a:lnTo>
                    <a:lnTo>
                      <a:pt x="1175291" y="2872447"/>
                    </a:lnTo>
                    <a:close/>
                    <a:moveTo>
                      <a:pt x="2360630" y="1946188"/>
                    </a:moveTo>
                    <a:lnTo>
                      <a:pt x="1750551" y="2872447"/>
                    </a:lnTo>
                    <a:lnTo>
                      <a:pt x="2360630" y="2872447"/>
                    </a:lnTo>
                    <a:close/>
                    <a:moveTo>
                      <a:pt x="2360630" y="0"/>
                    </a:moveTo>
                    <a:lnTo>
                      <a:pt x="0" y="0"/>
                    </a:lnTo>
                    <a:lnTo>
                      <a:pt x="0" y="1905096"/>
                    </a:lnTo>
                    <a:lnTo>
                      <a:pt x="855727" y="2468719"/>
                    </a:lnTo>
                    <a:lnTo>
                      <a:pt x="2065654" y="631732"/>
                    </a:lnTo>
                    <a:lnTo>
                      <a:pt x="2360630" y="826018"/>
                    </a:lnTo>
                    <a:close/>
                  </a:path>
                </a:pathLst>
              </a:custGeom>
              <a:blipFill>
                <a:blip r:embed="rId3">
                  <a:alphaModFix amt="28000"/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</p:spPr>
            <p:txBody>
              <a:bodyPr wrap="square">
                <a:noAutofit/>
              </a:bodyPr>
              <a:lstStyle/>
              <a:p>
                <a:endParaRPr lang="en-US" dirty="0"/>
              </a:p>
            </p:txBody>
          </p:sp>
        </p:grpSp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AC350606-0EBB-250E-B3CD-E6559A5C4C6E}"/>
                </a:ext>
              </a:extLst>
            </p:cNvPr>
            <p:cNvGrpSpPr/>
            <p:nvPr/>
          </p:nvGrpSpPr>
          <p:grpSpPr>
            <a:xfrm>
              <a:off x="1301599" y="9168418"/>
              <a:ext cx="4965159" cy="484175"/>
              <a:chOff x="1301599" y="9168418"/>
              <a:chExt cx="4965159" cy="484175"/>
            </a:xfrm>
          </p:grpSpPr>
          <p:grpSp>
            <p:nvGrpSpPr>
              <p:cNvPr id="68" name="Group 67">
                <a:extLst>
                  <a:ext uri="{FF2B5EF4-FFF2-40B4-BE49-F238E27FC236}">
                    <a16:creationId xmlns:a16="http://schemas.microsoft.com/office/drawing/2014/main" id="{D5BDFC0B-ABB9-9ED3-6DE2-0C77B791897C}"/>
                  </a:ext>
                </a:extLst>
              </p:cNvPr>
              <p:cNvGrpSpPr/>
              <p:nvPr/>
            </p:nvGrpSpPr>
            <p:grpSpPr>
              <a:xfrm>
                <a:off x="2981175" y="9168418"/>
                <a:ext cx="1594150" cy="180975"/>
                <a:chOff x="2981175" y="9168418"/>
                <a:chExt cx="1594150" cy="180975"/>
              </a:xfrm>
            </p:grpSpPr>
            <p:sp>
              <p:nvSpPr>
                <p:cNvPr id="19" name="TextBox 19"/>
                <p:cNvSpPr txBox="1"/>
                <p:nvPr/>
              </p:nvSpPr>
              <p:spPr>
                <a:xfrm>
                  <a:off x="3093406" y="9168418"/>
                  <a:ext cx="1369688" cy="180975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39"/>
                    </a:lnSpc>
                    <a:spcBef>
                      <a:spcPct val="0"/>
                    </a:spcBef>
                  </a:pPr>
                  <a:r>
                    <a:rPr lang="en-US" sz="1200" b="1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SPECIAL THANKS</a:t>
                  </a:r>
                </a:p>
              </p:txBody>
            </p:sp>
            <p:sp>
              <p:nvSpPr>
                <p:cNvPr id="20" name="Freeform 20"/>
                <p:cNvSpPr/>
                <p:nvPr/>
              </p:nvSpPr>
              <p:spPr>
                <a:xfrm>
                  <a:off x="4470995" y="9195656"/>
                  <a:ext cx="104330" cy="1043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330" h="104330">
                      <a:moveTo>
                        <a:pt x="0" y="0"/>
                      </a:moveTo>
                      <a:lnTo>
                        <a:pt x="104330" y="0"/>
                      </a:lnTo>
                      <a:lnTo>
                        <a:pt x="104330" y="104329"/>
                      </a:lnTo>
                      <a:lnTo>
                        <a:pt x="0" y="10432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21" name="Freeform 21"/>
                <p:cNvSpPr/>
                <p:nvPr/>
              </p:nvSpPr>
              <p:spPr>
                <a:xfrm>
                  <a:off x="2981175" y="9195656"/>
                  <a:ext cx="104330" cy="1043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330" h="104330">
                      <a:moveTo>
                        <a:pt x="0" y="0"/>
                      </a:moveTo>
                      <a:lnTo>
                        <a:pt x="104330" y="0"/>
                      </a:lnTo>
                      <a:lnTo>
                        <a:pt x="104330" y="104329"/>
                      </a:lnTo>
                      <a:lnTo>
                        <a:pt x="0" y="10432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</p:grpSp>
          <p:sp>
            <p:nvSpPr>
              <p:cNvPr id="43" name="TextBox 43"/>
              <p:cNvSpPr txBox="1"/>
              <p:nvPr/>
            </p:nvSpPr>
            <p:spPr>
              <a:xfrm>
                <a:off x="1301599" y="9400709"/>
                <a:ext cx="4965159" cy="251884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020"/>
                  </a:lnSpc>
                </a:pPr>
                <a:r>
                  <a:rPr lang="en-US" sz="850" u="none" strike="noStrike" dirty="0">
                    <a:solidFill>
                      <a:srgbClr val="FFFAE4"/>
                    </a:solidFill>
                    <a:latin typeface="EB Garamond"/>
                  </a:rPr>
                  <a:t>We extend our deepest appreciation to our parents, John and Lisa Johnson, and </a:t>
                </a:r>
              </a:p>
              <a:p>
                <a:pPr marL="0" lvl="0" indent="0" algn="ctr">
                  <a:lnSpc>
                    <a:spcPts val="1020"/>
                  </a:lnSpc>
                </a:pPr>
                <a:r>
                  <a:rPr lang="en-US" sz="850" u="none" strike="noStrike" dirty="0">
                    <a:solidFill>
                      <a:srgbClr val="FFFAE4"/>
                    </a:solidFill>
                    <a:latin typeface="EB Garamond"/>
                  </a:rPr>
                  <a:t>Robert and Jennifer Smith, for their unwavering love and support throughout our lives.</a:t>
                </a:r>
              </a:p>
            </p:txBody>
          </p:sp>
        </p:grpSp>
        <p:grpSp>
          <p:nvGrpSpPr>
            <p:cNvPr id="89" name="Group 88">
              <a:extLst>
                <a:ext uri="{FF2B5EF4-FFF2-40B4-BE49-F238E27FC236}">
                  <a16:creationId xmlns:a16="http://schemas.microsoft.com/office/drawing/2014/main" id="{B62FE7A9-B5D8-9782-07F6-EA4DCC129FD7}"/>
                </a:ext>
              </a:extLst>
            </p:cNvPr>
            <p:cNvGrpSpPr/>
            <p:nvPr/>
          </p:nvGrpSpPr>
          <p:grpSpPr>
            <a:xfrm>
              <a:off x="1124687" y="4313126"/>
              <a:ext cx="5307126" cy="4005616"/>
              <a:chOff x="1124687" y="4313126"/>
              <a:chExt cx="5307126" cy="4005616"/>
            </a:xfrm>
          </p:grpSpPr>
          <p:sp>
            <p:nvSpPr>
              <p:cNvPr id="22" name="AutoShape 22"/>
              <p:cNvSpPr/>
              <p:nvPr/>
            </p:nvSpPr>
            <p:spPr>
              <a:xfrm>
                <a:off x="1124687" y="4655129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AutoShape 23"/>
              <p:cNvSpPr/>
              <p:nvPr/>
            </p:nvSpPr>
            <p:spPr>
              <a:xfrm>
                <a:off x="1124687" y="8318742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4" name="AutoShape 24"/>
              <p:cNvSpPr/>
              <p:nvPr/>
            </p:nvSpPr>
            <p:spPr>
              <a:xfrm>
                <a:off x="1124687" y="5062197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>
                <a:off x="1124687" y="5469265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6" name="AutoShape 26"/>
              <p:cNvSpPr/>
              <p:nvPr/>
            </p:nvSpPr>
            <p:spPr>
              <a:xfrm>
                <a:off x="1124687" y="5876333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AutoShape 27"/>
              <p:cNvSpPr/>
              <p:nvPr/>
            </p:nvSpPr>
            <p:spPr>
              <a:xfrm>
                <a:off x="1124687" y="6283401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8" name="AutoShape 28"/>
              <p:cNvSpPr/>
              <p:nvPr/>
            </p:nvSpPr>
            <p:spPr>
              <a:xfrm>
                <a:off x="1124687" y="6690469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AutoShape 29"/>
              <p:cNvSpPr/>
              <p:nvPr/>
            </p:nvSpPr>
            <p:spPr>
              <a:xfrm>
                <a:off x="1124687" y="7097537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0" name="AutoShape 30"/>
              <p:cNvSpPr/>
              <p:nvPr/>
            </p:nvSpPr>
            <p:spPr>
              <a:xfrm>
                <a:off x="1124687" y="7504605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1" name="AutoShape 31"/>
              <p:cNvSpPr/>
              <p:nvPr/>
            </p:nvSpPr>
            <p:spPr>
              <a:xfrm>
                <a:off x="1124687" y="7911673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66" name="Group 65">
                <a:extLst>
                  <a:ext uri="{FF2B5EF4-FFF2-40B4-BE49-F238E27FC236}">
                    <a16:creationId xmlns:a16="http://schemas.microsoft.com/office/drawing/2014/main" id="{F03BC43F-09F3-83D7-AFF6-666791BED7DD}"/>
                  </a:ext>
                </a:extLst>
              </p:cNvPr>
              <p:cNvGrpSpPr/>
              <p:nvPr/>
            </p:nvGrpSpPr>
            <p:grpSpPr>
              <a:xfrm>
                <a:off x="3252467" y="4313126"/>
                <a:ext cx="1051566" cy="180975"/>
                <a:chOff x="3258396" y="4313126"/>
                <a:chExt cx="1051566" cy="180975"/>
              </a:xfrm>
            </p:grpSpPr>
            <p:sp>
              <p:nvSpPr>
                <p:cNvPr id="17" name="Freeform 17"/>
                <p:cNvSpPr/>
                <p:nvPr/>
              </p:nvSpPr>
              <p:spPr>
                <a:xfrm>
                  <a:off x="4205632" y="4340364"/>
                  <a:ext cx="104330" cy="1043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330" h="104330">
                      <a:moveTo>
                        <a:pt x="0" y="0"/>
                      </a:moveTo>
                      <a:lnTo>
                        <a:pt x="104330" y="0"/>
                      </a:lnTo>
                      <a:lnTo>
                        <a:pt x="104330" y="104330"/>
                      </a:lnTo>
                      <a:lnTo>
                        <a:pt x="0" y="1043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18" name="Freeform 18"/>
                <p:cNvSpPr/>
                <p:nvPr/>
              </p:nvSpPr>
              <p:spPr>
                <a:xfrm>
                  <a:off x="3258396" y="4340364"/>
                  <a:ext cx="104330" cy="10433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4330" h="104330">
                      <a:moveTo>
                        <a:pt x="0" y="0"/>
                      </a:moveTo>
                      <a:lnTo>
                        <a:pt x="104330" y="0"/>
                      </a:lnTo>
                      <a:lnTo>
                        <a:pt x="104330" y="104330"/>
                      </a:lnTo>
                      <a:lnTo>
                        <a:pt x="0" y="10433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5">
                    <a:extLst>
                      <a:ext uri="{96DAC541-7B7A-43D3-8B79-37D633B846F1}">
                        <asvg:svgBlip xmlns:asvg="http://schemas.microsoft.com/office/drawing/2016/SVG/main" r:embed="rId6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44" name="TextBox 44"/>
                <p:cNvSpPr txBox="1"/>
                <p:nvPr/>
              </p:nvSpPr>
              <p:spPr>
                <a:xfrm>
                  <a:off x="3379739" y="4313126"/>
                  <a:ext cx="808880" cy="180975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 algn="ctr">
                    <a:lnSpc>
                      <a:spcPts val="1439"/>
                    </a:lnSpc>
                    <a:spcBef>
                      <a:spcPct val="0"/>
                    </a:spcBef>
                  </a:pPr>
                  <a:r>
                    <a:rPr lang="en-US" sz="1200" b="1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TIMELINE</a:t>
                  </a:r>
                </a:p>
              </p:txBody>
            </p:sp>
          </p:grpSp>
          <p:grpSp>
            <p:nvGrpSpPr>
              <p:cNvPr id="70" name="Group 69">
                <a:extLst>
                  <a:ext uri="{FF2B5EF4-FFF2-40B4-BE49-F238E27FC236}">
                    <a16:creationId xmlns:a16="http://schemas.microsoft.com/office/drawing/2014/main" id="{C14AEFA4-E0D5-E8E3-F9FF-58138635FAB3}"/>
                  </a:ext>
                </a:extLst>
              </p:cNvPr>
              <p:cNvGrpSpPr/>
              <p:nvPr/>
            </p:nvGrpSpPr>
            <p:grpSpPr>
              <a:xfrm>
                <a:off x="1346532" y="4668791"/>
                <a:ext cx="4874506" cy="282574"/>
                <a:chOff x="1346532" y="4650701"/>
                <a:chExt cx="4874506" cy="282574"/>
              </a:xfrm>
            </p:grpSpPr>
            <p:sp>
              <p:nvSpPr>
                <p:cNvPr id="45" name="TextBox 45"/>
                <p:cNvSpPr txBox="1"/>
                <p:nvPr/>
              </p:nvSpPr>
              <p:spPr>
                <a:xfrm>
                  <a:off x="1346532" y="4650701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2500"/>
                    </a:lnSpc>
                  </a:pPr>
                  <a:r>
                    <a:rPr lang="en-US" sz="1000" b="1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4:00 PM</a:t>
                  </a:r>
                </a:p>
              </p:txBody>
            </p:sp>
            <p:sp>
              <p:nvSpPr>
                <p:cNvPr id="53" name="TextBox 53"/>
                <p:cNvSpPr txBox="1"/>
                <p:nvPr/>
              </p:nvSpPr>
              <p:spPr>
                <a:xfrm>
                  <a:off x="3976693" y="4660225"/>
                  <a:ext cx="2244345" cy="27305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Wedding Ceremony Processional </a:t>
                  </a:r>
                </a:p>
              </p:txBody>
            </p:sp>
          </p:grpSp>
          <p:grpSp>
            <p:nvGrpSpPr>
              <p:cNvPr id="71" name="Group 70">
                <a:extLst>
                  <a:ext uri="{FF2B5EF4-FFF2-40B4-BE49-F238E27FC236}">
                    <a16:creationId xmlns:a16="http://schemas.microsoft.com/office/drawing/2014/main" id="{11E42CE1-920E-BBA5-7764-25F4DA2B94BA}"/>
                  </a:ext>
                </a:extLst>
              </p:cNvPr>
              <p:cNvGrpSpPr/>
              <p:nvPr/>
            </p:nvGrpSpPr>
            <p:grpSpPr>
              <a:xfrm>
                <a:off x="1346532" y="5075859"/>
                <a:ext cx="4874506" cy="282574"/>
                <a:chOff x="1346532" y="5057638"/>
                <a:chExt cx="4874506" cy="282574"/>
              </a:xfrm>
            </p:grpSpPr>
            <p:sp>
              <p:nvSpPr>
                <p:cNvPr id="46" name="TextBox 46"/>
                <p:cNvSpPr txBox="1"/>
                <p:nvPr/>
              </p:nvSpPr>
              <p:spPr>
                <a:xfrm>
                  <a:off x="1346532" y="5057638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4:30 PM</a:t>
                  </a:r>
                </a:p>
              </p:txBody>
            </p:sp>
            <p:sp>
              <p:nvSpPr>
                <p:cNvPr id="54" name="TextBox 54"/>
                <p:cNvSpPr txBox="1"/>
                <p:nvPr/>
              </p:nvSpPr>
              <p:spPr>
                <a:xfrm>
                  <a:off x="4474448" y="5067294"/>
                  <a:ext cx="1746590" cy="2729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The Priest's Greeting</a:t>
                  </a:r>
                </a:p>
              </p:txBody>
            </p:sp>
          </p:grpSp>
          <p:grpSp>
            <p:nvGrpSpPr>
              <p:cNvPr id="72" name="Group 71">
                <a:extLst>
                  <a:ext uri="{FF2B5EF4-FFF2-40B4-BE49-F238E27FC236}">
                    <a16:creationId xmlns:a16="http://schemas.microsoft.com/office/drawing/2014/main" id="{C664CD06-7B55-EF2F-4686-0AF848722176}"/>
                  </a:ext>
                </a:extLst>
              </p:cNvPr>
              <p:cNvGrpSpPr/>
              <p:nvPr/>
            </p:nvGrpSpPr>
            <p:grpSpPr>
              <a:xfrm>
                <a:off x="1346532" y="5482927"/>
                <a:ext cx="4874506" cy="282574"/>
                <a:chOff x="1346532" y="5464706"/>
                <a:chExt cx="4874506" cy="282574"/>
              </a:xfrm>
            </p:grpSpPr>
            <p:sp>
              <p:nvSpPr>
                <p:cNvPr id="47" name="TextBox 47"/>
                <p:cNvSpPr txBox="1"/>
                <p:nvPr/>
              </p:nvSpPr>
              <p:spPr>
                <a:xfrm>
                  <a:off x="1346532" y="5464706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5:00 PM</a:t>
                  </a:r>
                </a:p>
              </p:txBody>
            </p:sp>
            <p:sp>
              <p:nvSpPr>
                <p:cNvPr id="55" name="TextBox 55"/>
                <p:cNvSpPr txBox="1"/>
                <p:nvPr/>
              </p:nvSpPr>
              <p:spPr>
                <a:xfrm>
                  <a:off x="4474448" y="5474362"/>
                  <a:ext cx="1746590" cy="2729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Rite of Marriage</a:t>
                  </a:r>
                </a:p>
              </p:txBody>
            </p:sp>
          </p:grpSp>
          <p:grpSp>
            <p:nvGrpSpPr>
              <p:cNvPr id="73" name="Group 72">
                <a:extLst>
                  <a:ext uri="{FF2B5EF4-FFF2-40B4-BE49-F238E27FC236}">
                    <a16:creationId xmlns:a16="http://schemas.microsoft.com/office/drawing/2014/main" id="{217E30A4-AC2B-3075-98C6-B5900B365CE1}"/>
                  </a:ext>
                </a:extLst>
              </p:cNvPr>
              <p:cNvGrpSpPr/>
              <p:nvPr/>
            </p:nvGrpSpPr>
            <p:grpSpPr>
              <a:xfrm>
                <a:off x="1346532" y="5889995"/>
                <a:ext cx="4874506" cy="282574"/>
                <a:chOff x="1346532" y="5871774"/>
                <a:chExt cx="4874506" cy="282574"/>
              </a:xfrm>
            </p:grpSpPr>
            <p:sp>
              <p:nvSpPr>
                <p:cNvPr id="48" name="TextBox 48"/>
                <p:cNvSpPr txBox="1"/>
                <p:nvPr/>
              </p:nvSpPr>
              <p:spPr>
                <a:xfrm>
                  <a:off x="1346532" y="5871774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5:30 PM</a:t>
                  </a:r>
                </a:p>
              </p:txBody>
            </p:sp>
            <p:sp>
              <p:nvSpPr>
                <p:cNvPr id="56" name="TextBox 56"/>
                <p:cNvSpPr txBox="1"/>
                <p:nvPr/>
              </p:nvSpPr>
              <p:spPr>
                <a:xfrm>
                  <a:off x="4474448" y="5881430"/>
                  <a:ext cx="1746590" cy="2729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Ring Exchange</a:t>
                  </a:r>
                </a:p>
              </p:txBody>
            </p:sp>
          </p:grpSp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935393A1-BA5E-C596-348F-43029A515772}"/>
                  </a:ext>
                </a:extLst>
              </p:cNvPr>
              <p:cNvGrpSpPr/>
              <p:nvPr/>
            </p:nvGrpSpPr>
            <p:grpSpPr>
              <a:xfrm>
                <a:off x="1346532" y="6297063"/>
                <a:ext cx="4874506" cy="282574"/>
                <a:chOff x="1346532" y="6278842"/>
                <a:chExt cx="4874506" cy="282574"/>
              </a:xfrm>
            </p:grpSpPr>
            <p:sp>
              <p:nvSpPr>
                <p:cNvPr id="49" name="TextBox 49"/>
                <p:cNvSpPr txBox="1"/>
                <p:nvPr/>
              </p:nvSpPr>
              <p:spPr>
                <a:xfrm>
                  <a:off x="1346532" y="6278842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6:00 PM</a:t>
                  </a:r>
                </a:p>
              </p:txBody>
            </p:sp>
            <p:sp>
              <p:nvSpPr>
                <p:cNvPr id="57" name="TextBox 57"/>
                <p:cNvSpPr txBox="1"/>
                <p:nvPr/>
              </p:nvSpPr>
              <p:spPr>
                <a:xfrm>
                  <a:off x="4474448" y="6288498"/>
                  <a:ext cx="1746590" cy="2729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Nuptial Mass</a:t>
                  </a:r>
                </a:p>
              </p:txBody>
            </p:sp>
          </p:grpSp>
          <p:grpSp>
            <p:nvGrpSpPr>
              <p:cNvPr id="77" name="Group 76">
                <a:extLst>
                  <a:ext uri="{FF2B5EF4-FFF2-40B4-BE49-F238E27FC236}">
                    <a16:creationId xmlns:a16="http://schemas.microsoft.com/office/drawing/2014/main" id="{C889B5DA-33E1-A47A-D842-A4742550BCFE}"/>
                  </a:ext>
                </a:extLst>
              </p:cNvPr>
              <p:cNvGrpSpPr/>
              <p:nvPr/>
            </p:nvGrpSpPr>
            <p:grpSpPr>
              <a:xfrm>
                <a:off x="1346532" y="6704131"/>
                <a:ext cx="4874506" cy="282574"/>
                <a:chOff x="1346532" y="6685910"/>
                <a:chExt cx="4874506" cy="282574"/>
              </a:xfrm>
            </p:grpSpPr>
            <p:sp>
              <p:nvSpPr>
                <p:cNvPr id="50" name="TextBox 50"/>
                <p:cNvSpPr txBox="1"/>
                <p:nvPr/>
              </p:nvSpPr>
              <p:spPr>
                <a:xfrm>
                  <a:off x="1346532" y="6685910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6:30 PM</a:t>
                  </a:r>
                </a:p>
              </p:txBody>
            </p:sp>
            <p:sp>
              <p:nvSpPr>
                <p:cNvPr id="58" name="TextBox 58"/>
                <p:cNvSpPr txBox="1"/>
                <p:nvPr/>
              </p:nvSpPr>
              <p:spPr>
                <a:xfrm>
                  <a:off x="4474448" y="6695566"/>
                  <a:ext cx="1746590" cy="2729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Holy Communion</a:t>
                  </a:r>
                </a:p>
              </p:txBody>
            </p:sp>
          </p:grpSp>
          <p:grpSp>
            <p:nvGrpSpPr>
              <p:cNvPr id="78" name="Group 77">
                <a:extLst>
                  <a:ext uri="{FF2B5EF4-FFF2-40B4-BE49-F238E27FC236}">
                    <a16:creationId xmlns:a16="http://schemas.microsoft.com/office/drawing/2014/main" id="{369777E4-F3A6-4D10-95AF-466048236C61}"/>
                  </a:ext>
                </a:extLst>
              </p:cNvPr>
              <p:cNvGrpSpPr/>
              <p:nvPr/>
            </p:nvGrpSpPr>
            <p:grpSpPr>
              <a:xfrm>
                <a:off x="1346532" y="7111199"/>
                <a:ext cx="4874506" cy="282574"/>
                <a:chOff x="1346532" y="7092978"/>
                <a:chExt cx="4874506" cy="282574"/>
              </a:xfrm>
            </p:grpSpPr>
            <p:sp>
              <p:nvSpPr>
                <p:cNvPr id="51" name="TextBox 51"/>
                <p:cNvSpPr txBox="1"/>
                <p:nvPr/>
              </p:nvSpPr>
              <p:spPr>
                <a:xfrm>
                  <a:off x="1346532" y="7092978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7:00 PM</a:t>
                  </a:r>
                </a:p>
              </p:txBody>
            </p:sp>
            <p:sp>
              <p:nvSpPr>
                <p:cNvPr id="59" name="TextBox 59"/>
                <p:cNvSpPr txBox="1"/>
                <p:nvPr/>
              </p:nvSpPr>
              <p:spPr>
                <a:xfrm>
                  <a:off x="2920618" y="7102634"/>
                  <a:ext cx="3300420" cy="2729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Nuptial Blessing and Dismissal of Congregation</a:t>
                  </a:r>
                </a:p>
              </p:txBody>
            </p:sp>
          </p:grp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9E7EC9AB-EFBA-8115-2591-62715D43A9BB}"/>
                  </a:ext>
                </a:extLst>
              </p:cNvPr>
              <p:cNvGrpSpPr/>
              <p:nvPr/>
            </p:nvGrpSpPr>
            <p:grpSpPr>
              <a:xfrm>
                <a:off x="1346532" y="7518267"/>
                <a:ext cx="4874506" cy="282574"/>
                <a:chOff x="1346532" y="7500046"/>
                <a:chExt cx="4874506" cy="282574"/>
              </a:xfrm>
            </p:grpSpPr>
            <p:sp>
              <p:nvSpPr>
                <p:cNvPr id="52" name="TextBox 52"/>
                <p:cNvSpPr txBox="1"/>
                <p:nvPr/>
              </p:nvSpPr>
              <p:spPr>
                <a:xfrm>
                  <a:off x="1346532" y="7500046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7:30 PM</a:t>
                  </a:r>
                </a:p>
              </p:txBody>
            </p:sp>
            <p:sp>
              <p:nvSpPr>
                <p:cNvPr id="60" name="TextBox 60"/>
                <p:cNvSpPr txBox="1"/>
                <p:nvPr/>
              </p:nvSpPr>
              <p:spPr>
                <a:xfrm>
                  <a:off x="4474448" y="7509702"/>
                  <a:ext cx="1746590" cy="2729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Dinner Service and Toasts </a:t>
                  </a:r>
                </a:p>
              </p:txBody>
            </p:sp>
          </p:grpSp>
          <p:grpSp>
            <p:nvGrpSpPr>
              <p:cNvPr id="80" name="Group 79">
                <a:extLst>
                  <a:ext uri="{FF2B5EF4-FFF2-40B4-BE49-F238E27FC236}">
                    <a16:creationId xmlns:a16="http://schemas.microsoft.com/office/drawing/2014/main" id="{2FE51062-856D-1105-3AC3-800C63450957}"/>
                  </a:ext>
                </a:extLst>
              </p:cNvPr>
              <p:cNvGrpSpPr/>
              <p:nvPr/>
            </p:nvGrpSpPr>
            <p:grpSpPr>
              <a:xfrm>
                <a:off x="1346532" y="7925335"/>
                <a:ext cx="4874506" cy="282574"/>
                <a:chOff x="1346532" y="7907246"/>
                <a:chExt cx="4874506" cy="282574"/>
              </a:xfrm>
            </p:grpSpPr>
            <p:sp>
              <p:nvSpPr>
                <p:cNvPr id="61" name="TextBox 61"/>
                <p:cNvSpPr txBox="1"/>
                <p:nvPr/>
              </p:nvSpPr>
              <p:spPr>
                <a:xfrm>
                  <a:off x="3686303" y="7916770"/>
                  <a:ext cx="2534735" cy="27305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r">
                    <a:lnSpc>
                      <a:spcPts val="24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AE4"/>
                      </a:solidFill>
                      <a:latin typeface="EB Garamond"/>
                    </a:rPr>
                    <a:t>First Dance, Dancing, and Celebration</a:t>
                  </a:r>
                </a:p>
              </p:txBody>
            </p:sp>
            <p:sp>
              <p:nvSpPr>
                <p:cNvPr id="62" name="TextBox 62"/>
                <p:cNvSpPr txBox="1"/>
                <p:nvPr/>
              </p:nvSpPr>
              <p:spPr>
                <a:xfrm>
                  <a:off x="1346532" y="7907246"/>
                  <a:ext cx="616970" cy="282574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2500"/>
                    </a:lnSpc>
                    <a:spcBef>
                      <a:spcPct val="0"/>
                    </a:spcBef>
                  </a:pPr>
                  <a:r>
                    <a:rPr lang="en-US" sz="1000" b="1" u="none" strike="noStrike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8:00 PM</a:t>
                  </a:r>
                </a:p>
              </p:txBody>
            </p:sp>
          </p:grpSp>
        </p:grpSp>
        <p:grpSp>
          <p:nvGrpSpPr>
            <p:cNvPr id="88" name="Group 87">
              <a:extLst>
                <a:ext uri="{FF2B5EF4-FFF2-40B4-BE49-F238E27FC236}">
                  <a16:creationId xmlns:a16="http://schemas.microsoft.com/office/drawing/2014/main" id="{5FE4A8E9-9E7B-6F27-1DCE-28D992FA014A}"/>
                </a:ext>
              </a:extLst>
            </p:cNvPr>
            <p:cNvGrpSpPr/>
            <p:nvPr/>
          </p:nvGrpSpPr>
          <p:grpSpPr>
            <a:xfrm>
              <a:off x="774683" y="724952"/>
              <a:ext cx="6007135" cy="2981236"/>
              <a:chOff x="774683" y="724952"/>
              <a:chExt cx="6007135" cy="2981236"/>
            </a:xfrm>
          </p:grpSpPr>
          <p:sp>
            <p:nvSpPr>
              <p:cNvPr id="15" name="AutoShape 15"/>
              <p:cNvSpPr/>
              <p:nvPr/>
            </p:nvSpPr>
            <p:spPr>
              <a:xfrm>
                <a:off x="1124687" y="3277956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AutoShape 16"/>
              <p:cNvSpPr/>
              <p:nvPr/>
            </p:nvSpPr>
            <p:spPr>
              <a:xfrm>
                <a:off x="1124687" y="3706188"/>
                <a:ext cx="5307126" cy="0"/>
              </a:xfrm>
              <a:prstGeom prst="line">
                <a:avLst/>
              </a:prstGeom>
              <a:ln w="9525" cap="flat">
                <a:solidFill>
                  <a:srgbClr val="FFFAE4">
                    <a:alpha val="49804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ABD33EB5-22A8-22CE-6537-FAF8A31BB739}"/>
                  </a:ext>
                </a:extLst>
              </p:cNvPr>
              <p:cNvGrpSpPr/>
              <p:nvPr/>
            </p:nvGrpSpPr>
            <p:grpSpPr>
              <a:xfrm>
                <a:off x="1754517" y="3409523"/>
                <a:ext cx="4325924" cy="165099"/>
                <a:chOff x="1691017" y="3405346"/>
                <a:chExt cx="4325924" cy="165099"/>
              </a:xfrm>
            </p:grpSpPr>
            <p:sp>
              <p:nvSpPr>
                <p:cNvPr id="34" name="AutoShape 34"/>
                <p:cNvSpPr/>
                <p:nvPr/>
              </p:nvSpPr>
              <p:spPr>
                <a:xfrm>
                  <a:off x="3271041" y="3405346"/>
                  <a:ext cx="0" cy="165099"/>
                </a:xfrm>
                <a:prstGeom prst="line">
                  <a:avLst/>
                </a:prstGeom>
                <a:ln w="12700" cap="flat">
                  <a:solidFill>
                    <a:srgbClr val="FFFAE4">
                      <a:alpha val="49804"/>
                    </a:srgbClr>
                  </a:solidFill>
                  <a:prstDash val="solid"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5" name="Freeform 35"/>
                <p:cNvSpPr/>
                <p:nvPr/>
              </p:nvSpPr>
              <p:spPr>
                <a:xfrm>
                  <a:off x="1691017" y="3416463"/>
                  <a:ext cx="153087" cy="14286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04116" h="190489">
                      <a:moveTo>
                        <a:pt x="0" y="0"/>
                      </a:moveTo>
                      <a:lnTo>
                        <a:pt x="204116" y="0"/>
                      </a:lnTo>
                      <a:lnTo>
                        <a:pt x="204116" y="190489"/>
                      </a:lnTo>
                      <a:lnTo>
                        <a:pt x="0" y="19048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6" name="TextBox 36"/>
                <p:cNvSpPr txBox="1"/>
                <p:nvPr/>
              </p:nvSpPr>
              <p:spPr>
                <a:xfrm>
                  <a:off x="1927542" y="3412651"/>
                  <a:ext cx="1241108" cy="150490"/>
                </a:xfrm>
                <a:prstGeom prst="rect">
                  <a:avLst/>
                </a:prstGeom>
              </p:spPr>
              <p:txBody>
                <a:bodyPr wrap="square" lIns="0" tIns="0" rIns="0" bIns="0" rtlCol="0" anchor="t">
                  <a:spAutoFit/>
                </a:bodyPr>
                <a:lstStyle/>
                <a:p>
                  <a:pPr>
                    <a:lnSpc>
                      <a:spcPts val="11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April 27, 2024 | 4:PM</a:t>
                  </a:r>
                </a:p>
              </p:txBody>
            </p:sp>
            <p:sp>
              <p:nvSpPr>
                <p:cNvPr id="37" name="Freeform 37"/>
                <p:cNvSpPr/>
                <p:nvPr/>
              </p:nvSpPr>
              <p:spPr>
                <a:xfrm>
                  <a:off x="3440100" y="3407143"/>
                  <a:ext cx="129205" cy="16150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2273" h="215341">
                      <a:moveTo>
                        <a:pt x="0" y="0"/>
                      </a:moveTo>
                      <a:lnTo>
                        <a:pt x="172274" y="0"/>
                      </a:lnTo>
                      <a:lnTo>
                        <a:pt x="172274" y="215341"/>
                      </a:lnTo>
                      <a:lnTo>
                        <a:pt x="0" y="215341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9">
                    <a:extLst>
                      <a:ext uri="{96DAC541-7B7A-43D3-8B79-37D633B846F1}">
                        <asvg:svgBlip xmlns:asvg="http://schemas.microsoft.com/office/drawing/2016/SVG/main" r:embed="rId10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38" name="TextBox 38"/>
                <p:cNvSpPr txBox="1"/>
                <p:nvPr/>
              </p:nvSpPr>
              <p:spPr>
                <a:xfrm>
                  <a:off x="3614993" y="3412651"/>
                  <a:ext cx="1431596" cy="150490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199"/>
                    </a:lnSpc>
                    <a:spcBef>
                      <a:spcPct val="0"/>
                    </a:spcBef>
                  </a:pPr>
                  <a:r>
                    <a:rPr lang="en-US" sz="999" b="1" dirty="0">
                      <a:solidFill>
                        <a:srgbClr val="FFFAE4"/>
                      </a:solidFill>
                      <a:latin typeface="EB Garamond" pitchFamily="2" charset="0"/>
                      <a:ea typeface="EB Garamond" pitchFamily="2" charset="0"/>
                      <a:cs typeface="EB Garamond" pitchFamily="2" charset="0"/>
                    </a:rPr>
                    <a:t>Meadowland Retreat</a:t>
                  </a:r>
                </a:p>
              </p:txBody>
            </p:sp>
            <p:sp>
              <p:nvSpPr>
                <p:cNvPr id="39" name="TextBox 39"/>
                <p:cNvSpPr txBox="1"/>
                <p:nvPr/>
              </p:nvSpPr>
              <p:spPr>
                <a:xfrm>
                  <a:off x="4767885" y="3452257"/>
                  <a:ext cx="1249056" cy="98623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808"/>
                    </a:lnSpc>
                  </a:pPr>
                  <a:r>
                    <a:rPr lang="en-US" sz="603" dirty="0">
                      <a:solidFill>
                        <a:srgbClr val="FFFAE4"/>
                      </a:solidFill>
                      <a:latin typeface="EB Garamond"/>
                    </a:rPr>
                    <a:t>123 Main Street, Anytown, USA</a:t>
                  </a:r>
                </a:p>
              </p:txBody>
            </p:sp>
          </p:grpSp>
          <p:grpSp>
            <p:nvGrpSpPr>
              <p:cNvPr id="5" name="Group 4">
                <a:extLst>
                  <a:ext uri="{FF2B5EF4-FFF2-40B4-BE49-F238E27FC236}">
                    <a16:creationId xmlns:a16="http://schemas.microsoft.com/office/drawing/2014/main" id="{B48B92D1-5367-E16E-BAA9-DE0C6842CFF2}"/>
                  </a:ext>
                </a:extLst>
              </p:cNvPr>
              <p:cNvGrpSpPr/>
              <p:nvPr/>
            </p:nvGrpSpPr>
            <p:grpSpPr>
              <a:xfrm>
                <a:off x="2070123" y="724952"/>
                <a:ext cx="3419754" cy="1471004"/>
                <a:chOff x="2070123" y="724952"/>
                <a:chExt cx="3419754" cy="1471004"/>
              </a:xfrm>
            </p:grpSpPr>
            <p:grpSp>
              <p:nvGrpSpPr>
                <p:cNvPr id="2" name="Group 1">
                  <a:extLst>
                    <a:ext uri="{FF2B5EF4-FFF2-40B4-BE49-F238E27FC236}">
                      <a16:creationId xmlns:a16="http://schemas.microsoft.com/office/drawing/2014/main" id="{4E9510AA-BE91-661D-11C1-3E1F4E333831}"/>
                    </a:ext>
                  </a:extLst>
                </p:cNvPr>
                <p:cNvGrpSpPr/>
                <p:nvPr/>
              </p:nvGrpSpPr>
              <p:grpSpPr>
                <a:xfrm>
                  <a:off x="3480800" y="724952"/>
                  <a:ext cx="594900" cy="1453011"/>
                  <a:chOff x="3482550" y="724952"/>
                  <a:chExt cx="594900" cy="1453011"/>
                </a:xfrm>
              </p:grpSpPr>
              <p:sp>
                <p:nvSpPr>
                  <p:cNvPr id="13" name="AutoShape 13"/>
                  <p:cNvSpPr/>
                  <p:nvPr/>
                </p:nvSpPr>
                <p:spPr>
                  <a:xfrm rot="-5400000">
                    <a:off x="3053494" y="1451458"/>
                    <a:ext cx="1453011" cy="0"/>
                  </a:xfrm>
                  <a:prstGeom prst="line">
                    <a:avLst/>
                  </a:prstGeom>
                  <a:ln w="19050" cap="flat">
                    <a:solidFill>
                      <a:srgbClr val="FFFAE4">
                        <a:alpha val="49804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  <p:sp>
                <p:nvSpPr>
                  <p:cNvPr id="14" name="AutoShape 14"/>
                  <p:cNvSpPr/>
                  <p:nvPr/>
                </p:nvSpPr>
                <p:spPr>
                  <a:xfrm rot="-10800000">
                    <a:off x="3482550" y="1056573"/>
                    <a:ext cx="594900" cy="0"/>
                  </a:xfrm>
                  <a:prstGeom prst="line">
                    <a:avLst/>
                  </a:prstGeom>
                  <a:ln w="19050" cap="flat">
                    <a:solidFill>
                      <a:srgbClr val="FFFFFF">
                        <a:alpha val="49804"/>
                      </a:srgbClr>
                    </a:solidFill>
                    <a:prstDash val="solid"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dirty="0"/>
                  </a:p>
                </p:txBody>
              </p:sp>
            </p:grpSp>
            <p:sp>
              <p:nvSpPr>
                <p:cNvPr id="40" name="TextBox 40"/>
                <p:cNvSpPr txBox="1"/>
                <p:nvPr/>
              </p:nvSpPr>
              <p:spPr>
                <a:xfrm>
                  <a:off x="2070123" y="941684"/>
                  <a:ext cx="1412427" cy="125427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 algn="r">
                    <a:lnSpc>
                      <a:spcPts val="10059"/>
                    </a:lnSpc>
                    <a:spcBef>
                      <a:spcPct val="0"/>
                    </a:spcBef>
                  </a:pPr>
                  <a:r>
                    <a:rPr lang="en-US" sz="7750" spc="472" dirty="0">
                      <a:solidFill>
                        <a:srgbClr val="FFFAE4"/>
                      </a:solidFill>
                      <a:latin typeface="EB Garamond"/>
                    </a:rPr>
                    <a:t>E</a:t>
                  </a:r>
                </a:p>
              </p:txBody>
            </p:sp>
            <p:sp>
              <p:nvSpPr>
                <p:cNvPr id="41" name="TextBox 41"/>
                <p:cNvSpPr txBox="1"/>
                <p:nvPr/>
              </p:nvSpPr>
              <p:spPr>
                <a:xfrm>
                  <a:off x="4077450" y="941684"/>
                  <a:ext cx="1412427" cy="125427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1" indent="0">
                    <a:lnSpc>
                      <a:spcPts val="10059"/>
                    </a:lnSpc>
                    <a:spcBef>
                      <a:spcPct val="0"/>
                    </a:spcBef>
                  </a:pPr>
                  <a:r>
                    <a:rPr lang="en-US" sz="7750" spc="472" dirty="0">
                      <a:solidFill>
                        <a:srgbClr val="FFFAE4"/>
                      </a:solidFill>
                      <a:latin typeface="EB Garamond"/>
                    </a:rPr>
                    <a:t>S</a:t>
                  </a:r>
                </a:p>
              </p:txBody>
            </p:sp>
          </p:grpSp>
          <p:sp>
            <p:nvSpPr>
              <p:cNvPr id="42" name="TextBox 42"/>
              <p:cNvSpPr txBox="1"/>
              <p:nvPr/>
            </p:nvSpPr>
            <p:spPr>
              <a:xfrm>
                <a:off x="774683" y="2513634"/>
                <a:ext cx="6007135" cy="471513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1" indent="0" algn="ctr">
                  <a:lnSpc>
                    <a:spcPts val="3714"/>
                  </a:lnSpc>
                </a:pPr>
                <a:r>
                  <a:rPr lang="en-US" sz="3400" dirty="0">
                    <a:solidFill>
                      <a:srgbClr val="FFFAE4"/>
                    </a:solidFill>
                    <a:latin typeface="EB Garamond SemiBold" pitchFamily="2" charset="0"/>
                    <a:ea typeface="EB Garamond SemiBold" pitchFamily="2" charset="0"/>
                    <a:cs typeface="EB Garamond SemiBold" pitchFamily="2" charset="0"/>
                  </a:rPr>
                  <a:t>ELYSIA &amp; SHANE</a:t>
                </a:r>
              </a:p>
            </p:txBody>
          </p:sp>
        </p:grpSp>
        <p:sp>
          <p:nvSpPr>
            <p:cNvPr id="32" name="TemplateLAB"/>
            <p:cNvSpPr/>
            <p:nvPr/>
          </p:nvSpPr>
          <p:spPr>
            <a:xfrm>
              <a:off x="3520106" y="9785413"/>
              <a:ext cx="519787" cy="85765"/>
            </a:xfrm>
            <a:custGeom>
              <a:avLst/>
              <a:gdLst/>
              <a:ahLst/>
              <a:cxnLst/>
              <a:rect l="l" t="t" r="r" b="b"/>
              <a:pathLst>
                <a:path w="519787" h="85765">
                  <a:moveTo>
                    <a:pt x="0" y="0"/>
                  </a:moveTo>
                  <a:lnTo>
                    <a:pt x="519788" y="0"/>
                  </a:lnTo>
                  <a:lnTo>
                    <a:pt x="519788" y="85764"/>
                  </a:lnTo>
                  <a:lnTo>
                    <a:pt x="0" y="85764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11">
                <a:alphaModFix amt="80000"/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a:blipFill>
            <a:ln cap="sq">
              <a:noFill/>
              <a:prstDash val="solid"/>
              <a:miter/>
            </a:ln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82</TotalTime>
  <Words>105</Words>
  <Application>Microsoft Office PowerPoint</Application>
  <PresentationFormat>Custom</PresentationFormat>
  <Paragraphs>28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EB Garamond SemiBold</vt:lpstr>
      <vt:lpstr>EB Garamond</vt:lpstr>
      <vt:lpstr>Calibri</vt:lpstr>
      <vt:lpstr>Arial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Wedding program - A4 Portrait</dc:title>
  <dc:creator>Hoang Anh</dc:creator>
  <cp:lastModifiedBy>Hoang Anh</cp:lastModifiedBy>
  <cp:revision>31</cp:revision>
  <dcterms:created xsi:type="dcterms:W3CDTF">2006-08-16T00:00:00Z</dcterms:created>
  <dcterms:modified xsi:type="dcterms:W3CDTF">2024-04-27T07:28:30Z</dcterms:modified>
  <dc:identifier>DAGDhuXIiCA</dc:identifier>
</cp:coreProperties>
</file>